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12:29.447" v="7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13:12:29.447" v="7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A4CFA2F4-FF8D-446B-B271-6DF568DBEADA}" dt="2026-01-14T13:01:50.162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homme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moins de cinq ans</c:v>
                </c:pt>
                <c:pt idx="1">
                  <c:v>entre 5 et 9 ans</c:v>
                </c:pt>
                <c:pt idx="2">
                  <c:v>entre 10 et 14 ans</c:v>
                </c:pt>
                <c:pt idx="3">
                  <c:v>entre 15 et 19 ans</c:v>
                </c:pt>
                <c:pt idx="4">
                  <c:v>entre 20 et 24 ans</c:v>
                </c:pt>
                <c:pt idx="5">
                  <c:v>entre 25 et 29 ans</c:v>
                </c:pt>
                <c:pt idx="6">
                  <c:v>entre 30 et 34 ans</c:v>
                </c:pt>
                <c:pt idx="7">
                  <c:v>entre 35 et 39 ans</c:v>
                </c:pt>
                <c:pt idx="8">
                  <c:v>entre 40 et 44 ans</c:v>
                </c:pt>
                <c:pt idx="9">
                  <c:v>45 ans et plus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298</c:v>
                </c:pt>
                <c:pt idx="1">
                  <c:v>-4606</c:v>
                </c:pt>
                <c:pt idx="2">
                  <c:v>-3554</c:v>
                </c:pt>
                <c:pt idx="3">
                  <c:v>-2025</c:v>
                </c:pt>
                <c:pt idx="4">
                  <c:v>-1592</c:v>
                </c:pt>
                <c:pt idx="5">
                  <c:v>-453</c:v>
                </c:pt>
                <c:pt idx="6">
                  <c:v>-1241</c:v>
                </c:pt>
                <c:pt idx="7">
                  <c:v>-2420</c:v>
                </c:pt>
                <c:pt idx="8">
                  <c:v>-1155</c:v>
                </c:pt>
                <c:pt idx="9">
                  <c:v>-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femmes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moins de cinq ans</c:v>
                </c:pt>
                <c:pt idx="1">
                  <c:v>entre 5 et 9 ans</c:v>
                </c:pt>
                <c:pt idx="2">
                  <c:v>entre 10 et 14 ans</c:v>
                </c:pt>
                <c:pt idx="3">
                  <c:v>entre 15 et 19 ans</c:v>
                </c:pt>
                <c:pt idx="4">
                  <c:v>entre 20 et 24 ans</c:v>
                </c:pt>
                <c:pt idx="5">
                  <c:v>entre 25 et 29 ans</c:v>
                </c:pt>
                <c:pt idx="6">
                  <c:v>entre 30 et 34 ans</c:v>
                </c:pt>
                <c:pt idx="7">
                  <c:v>entre 35 et 39 ans</c:v>
                </c:pt>
                <c:pt idx="8">
                  <c:v>entre 40 et 44 ans</c:v>
                </c:pt>
                <c:pt idx="9">
                  <c:v>45 ans et plus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28</c:v>
                </c:pt>
                <c:pt idx="1">
                  <c:v>1380</c:v>
                </c:pt>
                <c:pt idx="2">
                  <c:v>961</c:v>
                </c:pt>
                <c:pt idx="3">
                  <c:v>527</c:v>
                </c:pt>
                <c:pt idx="4">
                  <c:v>378</c:v>
                </c:pt>
                <c:pt idx="5">
                  <c:v>103</c:v>
                </c:pt>
                <c:pt idx="6">
                  <c:v>263</c:v>
                </c:pt>
                <c:pt idx="7">
                  <c:v>335</c:v>
                </c:pt>
                <c:pt idx="8">
                  <c:v>74</c:v>
                </c:pt>
                <c:pt idx="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698</cdr:x>
      <cdr:y>0.03681</cdr:y>
    </cdr:from>
    <cdr:to>
      <cdr:x>0.6334</cdr:x>
      <cdr:y>0.09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670251" y="164669"/>
          <a:ext cx="66421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Hommes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503</cdr:x>
      <cdr:y>0.03681</cdr:y>
    </cdr:from>
    <cdr:to>
      <cdr:x>0.71856</cdr:x>
      <cdr:y>0.09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50821" y="164669"/>
          <a:ext cx="63535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Femmes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Répartition des collaboratrices et collaborateurs en fonction de leur ancienneté en 2025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43112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8" y="6092825"/>
            <a:ext cx="6195358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Collaboratrices et collaborateurs à la fin de l’année. CFF SA et CFF Cargo SA (Suisse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173547"/>
              </p:ext>
            </p:extLst>
          </p:nvPr>
        </p:nvGraphicFramePr>
        <p:xfrm>
          <a:off x="703718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41D06B7-CCFD-4194-A03A-302C65A73C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épartition des collaboratrices et collaborateurs en fonction de leur ancienneté en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partition des collaboratrices et collaborateurs en fonction de leur ancienneté en 2023.</dc:title>
  <dc:creator>Meyer Raphael (KOM-PGA-VSF)</dc:creator>
  <cp:lastModifiedBy>Weigel Stefan (PAR-EPS)</cp:lastModifiedBy>
  <cp:revision>55</cp:revision>
  <dcterms:created xsi:type="dcterms:W3CDTF">2020-09-30T11:00:09Z</dcterms:created>
  <dcterms:modified xsi:type="dcterms:W3CDTF">2026-03-03T13:2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